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9" r:id="rId8"/>
    <p:sldId id="277" r:id="rId9"/>
    <p:sldId id="278" r:id="rId10"/>
    <p:sldId id="272" r:id="rId11"/>
    <p:sldId id="268" r:id="rId12"/>
    <p:sldId id="263" r:id="rId13"/>
    <p:sldId id="275" r:id="rId14"/>
    <p:sldId id="274" r:id="rId15"/>
    <p:sldId id="276" r:id="rId16"/>
    <p:sldId id="270" r:id="rId17"/>
    <p:sldId id="269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122" d="100"/>
          <a:sy n="122" d="100"/>
        </p:scale>
        <p:origin x="96" y="28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4/4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4/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04/04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04/04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04/04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04/04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04/04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04/04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04/04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04/04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146799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pPr lvl="1"/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/>
              <a:t>Distributing</a:t>
            </a:r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/>
              <a:t>Integrating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endParaRPr lang="da-DK" dirty="0"/>
          </a:p>
          <a:p>
            <a:r>
              <a:rPr lang="da-DK" dirty="0"/>
              <a:t>Tech stack: .NET on Azure</a:t>
            </a:r>
          </a:p>
          <a:p>
            <a:pPr marL="360000" lvl="2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m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153" y="4149080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595" y="1355898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088" y="2780928"/>
            <a:ext cx="1685994" cy="198668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277911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pPr lvl="1"/>
            <a:r>
              <a:rPr lang="da-DK" dirty="0"/>
              <a:t>Understand your tool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11</TotalTime>
  <Words>461</Words>
  <Application>Microsoft Office PowerPoint</Application>
  <PresentationFormat>Widescreen</PresentationFormat>
  <Paragraphs>241</Paragraphs>
  <Slides>17</Slides>
  <Notes>0</Notes>
  <HiddenSlides>8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Demo</vt:lpstr>
      <vt:lpstr>Visual Studio</vt:lpstr>
      <vt:lpstr>Thank you!</vt:lpstr>
      <vt:lpstr>React Reconcillation</vt:lpstr>
      <vt:lpstr>React</vt:lpstr>
      <vt:lpstr>React Component Lifecycle</vt:lpstr>
      <vt:lpstr>TypeScript</vt:lpstr>
      <vt:lpstr>Webpack</vt:lpstr>
      <vt:lpstr>Webpack Hot Module Reload</vt:lpstr>
      <vt:lpstr>Javascript Versions</vt:lpstr>
      <vt:lpstr>Why not Angular 2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339</cp:revision>
  <cp:lastPrinted>2016-09-01T12:11:25Z</cp:lastPrinted>
  <dcterms:created xsi:type="dcterms:W3CDTF">2016-09-08T09:03:45Z</dcterms:created>
  <dcterms:modified xsi:type="dcterms:W3CDTF">2017-04-04T09:2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